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83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34DF1E-EBC9-EB6B-510B-136479E14AA3}" name="Alexandra Regan" initials="AR" userId="520e96342e21983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89F"/>
    <a:srgbClr val="1070B8"/>
    <a:srgbClr val="666666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FD47C2-83A9-604D-AE17-EE74E0D4CAD7}" v="3" dt="2025-09-25T07:46:49.5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806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48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zabeth Ohadi" userId="5897eeda-f271-463e-b88c-eb7854f47227" providerId="ADAL" clId="{FADF0F43-333E-48A3-BB2D-AA759E5E1A77}"/>
    <pc:docChg chg="custSel modSld">
      <pc:chgData name="Elizabeth Ohadi" userId="5897eeda-f271-463e-b88c-eb7854f47227" providerId="ADAL" clId="{FADF0F43-333E-48A3-BB2D-AA759E5E1A77}" dt="2025-09-25T16:16:40.114" v="122" actId="14100"/>
      <pc:docMkLst>
        <pc:docMk/>
      </pc:docMkLst>
      <pc:sldChg chg="delSp modSp mod">
        <pc:chgData name="Elizabeth Ohadi" userId="5897eeda-f271-463e-b88c-eb7854f47227" providerId="ADAL" clId="{FADF0F43-333E-48A3-BB2D-AA759E5E1A77}" dt="2025-09-25T16:16:40.114" v="122" actId="14100"/>
        <pc:sldMkLst>
          <pc:docMk/>
          <pc:sldMk cId="471668765" sldId="283"/>
        </pc:sldMkLst>
        <pc:spChg chg="mod">
          <ac:chgData name="Elizabeth Ohadi" userId="5897eeda-f271-463e-b88c-eb7854f47227" providerId="ADAL" clId="{FADF0F43-333E-48A3-BB2D-AA759E5E1A77}" dt="2025-09-25T16:03:38.151" v="6" actId="14100"/>
          <ac:spMkLst>
            <pc:docMk/>
            <pc:sldMk cId="471668765" sldId="283"/>
            <ac:spMk id="2" creationId="{89F47452-90E4-C7F9-0241-B342916167B5}"/>
          </ac:spMkLst>
        </pc:spChg>
        <pc:spChg chg="del">
          <ac:chgData name="Elizabeth Ohadi" userId="5897eeda-f271-463e-b88c-eb7854f47227" providerId="ADAL" clId="{FADF0F43-333E-48A3-BB2D-AA759E5E1A77}" dt="2025-09-25T16:03:19.552" v="1" actId="478"/>
          <ac:spMkLst>
            <pc:docMk/>
            <pc:sldMk cId="471668765" sldId="283"/>
            <ac:spMk id="3" creationId="{DCB1BBD7-6E67-5325-DC53-5CA0DD20BE84}"/>
          </ac:spMkLst>
        </pc:spChg>
        <pc:spChg chg="mod">
          <ac:chgData name="Elizabeth Ohadi" userId="5897eeda-f271-463e-b88c-eb7854f47227" providerId="ADAL" clId="{FADF0F43-333E-48A3-BB2D-AA759E5E1A77}" dt="2025-09-25T16:16:40.114" v="122" actId="14100"/>
          <ac:spMkLst>
            <pc:docMk/>
            <pc:sldMk cId="471668765" sldId="283"/>
            <ac:spMk id="11" creationId="{8E795DCB-740F-F180-24B3-A6A5EAAADFAE}"/>
          </ac:spMkLst>
        </pc:spChg>
        <pc:graphicFrameChg chg="mod modGraphic">
          <ac:chgData name="Elizabeth Ohadi" userId="5897eeda-f271-463e-b88c-eb7854f47227" providerId="ADAL" clId="{FADF0F43-333E-48A3-BB2D-AA759E5E1A77}" dt="2025-09-25T16:10:49.072" v="95" actId="14100"/>
          <ac:graphicFrameMkLst>
            <pc:docMk/>
            <pc:sldMk cId="471668765" sldId="283"/>
            <ac:graphicFrameMk id="9" creationId="{C9BDD36C-6B0D-7E9D-E2FF-6472595E72FB}"/>
          </ac:graphicFrameMkLst>
        </pc:graphicFrameChg>
        <pc:graphicFrameChg chg="mod modGraphic">
          <ac:chgData name="Elizabeth Ohadi" userId="5897eeda-f271-463e-b88c-eb7854f47227" providerId="ADAL" clId="{FADF0F43-333E-48A3-BB2D-AA759E5E1A77}" dt="2025-09-25T16:10:57.496" v="101" actId="1035"/>
          <ac:graphicFrameMkLst>
            <pc:docMk/>
            <pc:sldMk cId="471668765" sldId="283"/>
            <ac:graphicFrameMk id="14" creationId="{73F29AE2-B32F-D0E9-AC5E-CD232437A2B8}"/>
          </ac:graphicFrameMkLst>
        </pc:graphicFrameChg>
        <pc:graphicFrameChg chg="mod modGraphic">
          <ac:chgData name="Elizabeth Ohadi" userId="5897eeda-f271-463e-b88c-eb7854f47227" providerId="ADAL" clId="{FADF0F43-333E-48A3-BB2D-AA759E5E1A77}" dt="2025-09-25T16:13:15.233" v="120" actId="255"/>
          <ac:graphicFrameMkLst>
            <pc:docMk/>
            <pc:sldMk cId="471668765" sldId="283"/>
            <ac:graphicFrameMk id="15" creationId="{A908EED0-952C-4F37-8CE3-BF6C654D6CE6}"/>
          </ac:graphicFrameMkLst>
        </pc:graphicFrameChg>
        <pc:graphicFrameChg chg="mod modGraphic">
          <ac:chgData name="Elizabeth Ohadi" userId="5897eeda-f271-463e-b88c-eb7854f47227" providerId="ADAL" clId="{FADF0F43-333E-48A3-BB2D-AA759E5E1A77}" dt="2025-09-25T16:11:55.521" v="114" actId="14100"/>
          <ac:graphicFrameMkLst>
            <pc:docMk/>
            <pc:sldMk cId="471668765" sldId="283"/>
            <ac:graphicFrameMk id="16" creationId="{55241C14-BA57-0890-5F0F-28081FC1A87A}"/>
          </ac:graphicFrameMkLst>
        </pc:graphicFrameChg>
        <pc:picChg chg="mod">
          <ac:chgData name="Elizabeth Ohadi" userId="5897eeda-f271-463e-b88c-eb7854f47227" providerId="ADAL" clId="{FADF0F43-333E-48A3-BB2D-AA759E5E1A77}" dt="2025-09-25T16:12:30.766" v="118" actId="14100"/>
          <ac:picMkLst>
            <pc:docMk/>
            <pc:sldMk cId="471668765" sldId="283"/>
            <ac:picMk id="10" creationId="{0D4BC989-B371-F224-8763-A075E30BDA34}"/>
          </ac:picMkLst>
        </pc:picChg>
      </pc:sldChg>
    </pc:docChg>
  </pc:docChgLst>
  <pc:docChgLst>
    <pc:chgData name="Ivdity Chikovani" userId="88c3af89-cfad-4844-9d52-51bd03c65758" providerId="ADAL" clId="{289F00C4-9F9E-540A-828A-CB0EB7E5AAA4}"/>
    <pc:docChg chg="modSld">
      <pc:chgData name="Ivdity Chikovani" userId="88c3af89-cfad-4844-9d52-51bd03c65758" providerId="ADAL" clId="{289F00C4-9F9E-540A-828A-CB0EB7E5AAA4}" dt="2025-09-25T07:49:59.254" v="2" actId="1038"/>
      <pc:docMkLst>
        <pc:docMk/>
      </pc:docMkLst>
      <pc:sldChg chg="modSp mod">
        <pc:chgData name="Ivdity Chikovani" userId="88c3af89-cfad-4844-9d52-51bd03c65758" providerId="ADAL" clId="{289F00C4-9F9E-540A-828A-CB0EB7E5AAA4}" dt="2025-09-25T07:49:59.254" v="2" actId="1038"/>
        <pc:sldMkLst>
          <pc:docMk/>
          <pc:sldMk cId="471668765" sldId="283"/>
        </pc:sldMkLst>
        <pc:graphicFrameChg chg="mod">
          <ac:chgData name="Ivdity Chikovani" userId="88c3af89-cfad-4844-9d52-51bd03c65758" providerId="ADAL" clId="{289F00C4-9F9E-540A-828A-CB0EB7E5AAA4}" dt="2025-09-25T07:49:59.254" v="2" actId="1038"/>
          <ac:graphicFrameMkLst>
            <pc:docMk/>
            <pc:sldMk cId="471668765" sldId="283"/>
            <ac:graphicFrameMk id="16" creationId="{55241C14-BA57-0890-5F0F-28081FC1A87A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CE733-AA74-495B-8069-C8B29890BCD3}" type="datetimeFigureOut">
              <a:rPr lang="en-US" smtClean="0"/>
              <a:t>9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015F8-C5B8-405F-A648-CB3C9E8B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4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63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3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105" indent="-457105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799933" indent="-342828">
              <a:buClr>
                <a:schemeClr val="accent1"/>
              </a:buClr>
              <a:buFont typeface="Wingdings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038" indent="-342828">
              <a:buClr>
                <a:schemeClr val="accent1"/>
              </a:buClr>
              <a:buFont typeface="Wingdings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142" indent="-342828">
              <a:buClr>
                <a:schemeClr val="accent1"/>
              </a:buClr>
              <a:buFont typeface="Wingdings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6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105" indent="-457105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799933" indent="-342828">
              <a:buClr>
                <a:srgbClr val="00A6B6"/>
              </a:buClr>
              <a:buFontTx/>
              <a:buNone/>
              <a:defRPr sz="1786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038" indent="-342828">
              <a:buClr>
                <a:srgbClr val="00A6B6"/>
              </a:buClr>
              <a:buFontTx/>
              <a:buNone/>
              <a:defRPr sz="1571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142" indent="-342828">
              <a:buClr>
                <a:srgbClr val="00A6B6"/>
              </a:buClr>
              <a:buFontTx/>
              <a:buNone/>
              <a:defRPr sz="1429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14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2118948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14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9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>
                <a:latin typeface="Arial"/>
                <a:cs typeface="Arial"/>
              </a:rPr>
              <a:t> | </a:t>
            </a:r>
            <a:r>
              <a:rPr lang="en-US" err="1">
                <a:latin typeface="Arial"/>
                <a:cs typeface="Arial"/>
              </a:rPr>
              <a:t>www.lnct.global</a:t>
            </a:r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317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ctr" defTabSz="914209" rtl="0" eaLnBrk="1" latinLnBrk="0" hangingPunct="1">
        <a:spcBef>
          <a:spcPct val="0"/>
        </a:spcBef>
        <a:buNone/>
        <a:defRPr sz="4429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828" indent="-342828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14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795" indent="-285691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786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276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29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599866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697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07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0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8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7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38258" y="979211"/>
            <a:ext cx="9065594" cy="541747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1333" y="21126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1070B8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Moldova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Sustaining and Strengthening Immunization Coverage 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in Middle-Income </a:t>
            </a:r>
            <a:r>
              <a:rPr lang="en-US" sz="1200" b="1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ountrie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Tashkent, Uzbekistan, 07-09 October 2025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-1" y="6384597"/>
            <a:ext cx="9144001" cy="5031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61" y="6397487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5282" y="6404510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8877770"/>
              </p:ext>
            </p:extLst>
          </p:nvPr>
        </p:nvGraphicFramePr>
        <p:xfrm>
          <a:off x="3989158" y="992889"/>
          <a:ext cx="5114695" cy="1531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695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74447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drive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238869">
                <a:tc>
                  <a:txBody>
                    <a:bodyPr/>
                    <a:lstStyle/>
                    <a:p>
                      <a:pPr marL="182563" marR="0" lvl="0" indent="-182563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njustified contraindications from private practitioners, specialist doctors, neonatologists leading to delayed immunisation </a:t>
                      </a:r>
                    </a:p>
                    <a:p>
                      <a:pPr marL="182563" marR="0" lvl="0" indent="-182563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oor immunisation communication skills among PHC workers</a:t>
                      </a:r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imited immunisation data analysis by family doctors, performance monitoring at facility level, supportive supervision from Public Health</a:t>
                      </a:r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olicy limitations (opt-in policy, immunisation is not part of the PHC accountability framework, weak enforcement of mandatory immun.)</a:t>
                      </a:r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Vaccination refusal from religious and cultural (Roma) subgroups.</a:t>
                      </a:r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Online and offline </a:t>
                      </a:r>
                      <a:r>
                        <a:rPr lang="en-US" sz="8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isinformation leading to mistrust in routine vaccination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847157"/>
              </p:ext>
            </p:extLst>
          </p:nvPr>
        </p:nvGraphicFramePr>
        <p:xfrm>
          <a:off x="3989158" y="2551050"/>
          <a:ext cx="5114695" cy="1356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695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23326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needs to optimize coverage (as of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119200">
                <a:tc>
                  <a:txBody>
                    <a:bodyPr/>
                    <a:lstStyle/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ngage religious and Roma leaders in targeted interventions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trengthen capacities in immunization counselling for medical and social workers, including community mediators for Roma and refugee communities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mplement the Social Listening and Media Monitoring for immunisation initiative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nhancing data collection and reporting systems to ensure real-time data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trengthen the supervision system for primary healthcare facilities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omote community engagement activities in rural areas &amp; integrate vaccination subject into the education curricula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44355"/>
              </p:ext>
            </p:extLst>
          </p:nvPr>
        </p:nvGraphicFramePr>
        <p:xfrm>
          <a:off x="36370" y="3952119"/>
          <a:ext cx="4335660" cy="23802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5660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96709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 (2023-2025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983544">
                <a:tc>
                  <a:txBody>
                    <a:bodyPr/>
                    <a:lstStyle/>
                    <a:p>
                      <a:pPr marL="138113" marR="0" lvl="0" indent="-138113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prehensive root cause analysis of barriers to vaccination in Balti district, developing and implementation of targeted interventions (2023)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munity Engagement for Immunisation (2023-2024): Multicomponent, multisectoral interventions in 10 rayons and 14 suburbs of Chisinau including consensus building, educational, communication and awareness raising events with the target groups.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vidence generation  and coverage and  equity assessment, and development of Social and Behaviour Change Action Plan 2023-2027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tegration of Interpersonal communication skills on immunization Module into in-service and pre-service national curricula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ocial listening and countering misinformation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upport PHC workers in the vaccination process through the establishment of a Methodological Centre for Vaccination,</a:t>
                      </a:r>
                      <a:r>
                        <a:rPr lang="ro-RO" sz="8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MCH Institute.</a:t>
                      </a:r>
                      <a:endParaRPr lang="en-US" sz="85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9567681"/>
              </p:ext>
            </p:extLst>
          </p:nvPr>
        </p:nvGraphicFramePr>
        <p:xfrm>
          <a:off x="4424517" y="3948353"/>
          <a:ext cx="4679336" cy="23914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79336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05457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uccesses and 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2085965">
                <a:tc>
                  <a:txBody>
                    <a:bodyPr/>
                    <a:lstStyle/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Following tailored actions &amp; community engagement</a:t>
                      </a:r>
                      <a:r>
                        <a:rPr lang="ro-RO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ptake rose by 35% for DTP3, 29% for MMR, 63% for HPV in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Bălț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and by 3–5% in several rayons (Cahul,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ăușen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Comrat,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Râșcan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Ștefan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Vodă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). HPV coverage among 15-y increased by 40% in some suburbs of Chișinău and by 5–10% in rayons such as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ălăraș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ăușen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eadîr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-Lunga, and Comrat.</a:t>
                      </a:r>
                      <a:endParaRPr lang="ro-RO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ith support from the Methodological Centre for Immunization, over </a:t>
                      </a:r>
                      <a:r>
                        <a:rPr lang="en-US" sz="85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500 previously unvaccinated children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received vaccines </a:t>
                      </a:r>
                      <a:endParaRPr lang="ro-RO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he </a:t>
                      </a:r>
                      <a:r>
                        <a:rPr lang="en-US" sz="85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ocial Listening initiative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was institutionalized within the National Agency for Public Health, and the </a:t>
                      </a:r>
                      <a:r>
                        <a:rPr lang="en-US" sz="85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BC Action Plan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was approved and integrated into the EPI.</a:t>
                      </a:r>
                      <a:endParaRPr lang="ro-RO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he IPC Module was integrated into 10 in-service and pre-service curricula at Medical Colleges, and into 9 programs at the University of Medicine.</a:t>
                      </a:r>
                      <a:endParaRPr lang="ro-RO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essons learned:</a:t>
                      </a:r>
                      <a:endParaRPr lang="en-US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ailored, evidence-based interventions are essential to address specific barriers.</a:t>
                      </a: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munity engagement is key to building trust and acceptance of vaccines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2" descr="C:\Users\Alexei™\Desktop\md.png">
            <a:extLst>
              <a:ext uri="{FF2B5EF4-FFF2-40B4-BE49-F238E27FC236}">
                <a16:creationId xmlns:a16="http://schemas.microsoft.com/office/drawing/2014/main" id="{71EB71D7-FBB4-FEBF-3C12-C0ECE08FC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63" y="132993"/>
            <a:ext cx="1313301" cy="656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4BC989-B371-F224-8763-A075E30BDA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368" y="992889"/>
            <a:ext cx="3900303" cy="2929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Elizabeth Ohadi</DisplayName>
        <AccountId>13</AccountId>
        <AccountType/>
      </UserInfo>
      <UserInfo>
        <DisplayName>Colleen Keating</DisplayName>
        <AccountId>37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5D129A0-0FDD-4B0E-B270-06BBD5B9F4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11F2289-BAB9-469B-B0DE-3C1A7271F0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27da4-2e3e-416a-a040-6d0b2e3a2039"/>
    <ds:schemaRef ds:uri="a6b7a42b-578f-4fd1-9d67-5a3066b9c5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EF60BD8-D668-47DF-AE94-9D3E1BA7162F}">
  <ds:schemaRefs>
    <ds:schemaRef ds:uri="http://schemas.microsoft.com/office/2006/documentManagement/types"/>
    <ds:schemaRef ds:uri="http://purl.org/dc/elements/1.1/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a6b7a42b-578f-4fd1-9d67-5a3066b9c5a5"/>
    <ds:schemaRef ds:uri="http://schemas.microsoft.com/office/infopath/2007/PartnerControls"/>
    <ds:schemaRef ds:uri="bcb27da4-2e3e-416a-a040-6d0b2e3a2039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944</TotalTime>
  <Words>478</Words>
  <Application>Microsoft Office PowerPoint</Application>
  <PresentationFormat>On-screen Show (4:3)</PresentationFormat>
  <Paragraphs>3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Poppins</vt:lpstr>
      <vt:lpstr>Wingdings</vt:lpstr>
      <vt:lpstr>R4D_StandardTemplate_MAC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Shaw</dc:creator>
  <cp:lastModifiedBy>Elizabeth Ohadi</cp:lastModifiedBy>
  <cp:revision>65</cp:revision>
  <dcterms:created xsi:type="dcterms:W3CDTF">2024-04-05T17:45:07Z</dcterms:created>
  <dcterms:modified xsi:type="dcterms:W3CDTF">2025-09-25T16:1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</Properties>
</file>